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2"/>
  </p:notesMasterIdLst>
  <p:sldIdLst>
    <p:sldId id="270" r:id="rId2"/>
    <p:sldId id="284" r:id="rId3"/>
    <p:sldId id="271" r:id="rId4"/>
    <p:sldId id="278" r:id="rId5"/>
    <p:sldId id="264" r:id="rId6"/>
    <p:sldId id="265" r:id="rId7"/>
    <p:sldId id="268" r:id="rId8"/>
    <p:sldId id="258" r:id="rId9"/>
    <p:sldId id="279" r:id="rId10"/>
    <p:sldId id="274" r:id="rId11"/>
    <p:sldId id="275" r:id="rId12"/>
    <p:sldId id="276" r:id="rId13"/>
    <p:sldId id="281" r:id="rId14"/>
    <p:sldId id="285" r:id="rId15"/>
    <p:sldId id="280" r:id="rId16"/>
    <p:sldId id="272" r:id="rId17"/>
    <p:sldId id="286" r:id="rId18"/>
    <p:sldId id="287" r:id="rId19"/>
    <p:sldId id="288" r:id="rId20"/>
    <p:sldId id="283" r:id="rId2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68" autoAdjust="0"/>
    <p:restoredTop sz="94737" autoAdjust="0"/>
  </p:normalViewPr>
  <p:slideViewPr>
    <p:cSldViewPr snapToGrid="0">
      <p:cViewPr varScale="1">
        <p:scale>
          <a:sx n="71" d="100"/>
          <a:sy n="71" d="100"/>
        </p:scale>
        <p:origin x="312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9061424"/>
        <c:axId val="139061984"/>
      </c:barChart>
      <c:catAx>
        <c:axId val="139061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9061984"/>
        <c:crosses val="autoZero"/>
        <c:auto val="1"/>
        <c:lblAlgn val="ctr"/>
        <c:lblOffset val="100"/>
        <c:noMultiLvlLbl val="0"/>
      </c:catAx>
      <c:valAx>
        <c:axId val="139061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9061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8971056"/>
        <c:axId val="138971616"/>
      </c:barChart>
      <c:catAx>
        <c:axId val="13897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8971616"/>
        <c:crosses val="autoZero"/>
        <c:auto val="1"/>
        <c:lblAlgn val="ctr"/>
        <c:lblOffset val="100"/>
        <c:noMultiLvlLbl val="0"/>
      </c:catAx>
      <c:valAx>
        <c:axId val="138971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897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1809C95E-1EA5-46AC-AD82-F2894AFE74E2}" type="presOf" srcId="{127057A1-3005-47EE-9DA0-5BB7EF177F1C}" destId="{07112225-DBE3-4767-B863-B33AE5135511}" srcOrd="0" destOrd="3" presId="urn:microsoft.com/office/officeart/2005/8/layout/hList6"/>
    <dgm:cxn modelId="{743E318E-B156-4431-A0C3-7103564A4ADC}" type="presOf" srcId="{5F008396-1FAF-4AD2-93C9-694E6D2BF1F8}" destId="{07112225-DBE3-4767-B863-B33AE5135511}" srcOrd="0" destOrd="5" presId="urn:microsoft.com/office/officeart/2005/8/layout/hList6"/>
    <dgm:cxn modelId="{470A3A6B-C63B-40C3-91A5-8620FA4E0349}" type="presOf" srcId="{D5D44B7F-AA41-424D-A05E-93AA86CAC2AD}" destId="{07112225-DBE3-4767-B863-B33AE5135511}" srcOrd="0" destOrd="1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BE0E4A24-D68E-49EB-B8CA-BA88444236A4}" type="presOf" srcId="{B0E30588-1614-4F1A-B863-E835765ED56C}" destId="{3E78A654-C050-4A6D-AE20-E7E88B2A53F2}" srcOrd="0" destOrd="0" presId="urn:microsoft.com/office/officeart/2005/8/layout/hList6"/>
    <dgm:cxn modelId="{1864BF73-87D8-4874-A185-D574A847BBCB}" type="presOf" srcId="{2C240D2F-E71A-43C1-9CF6-01F5C8127177}" destId="{E2944459-30FB-4A39-B98C-CA50DEBD0FE0}" srcOrd="0" destOrd="5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74FA16FA-49F9-4F2F-8DAE-D6D422AEF478}" type="presOf" srcId="{26C7AD60-0846-4829-95EF-6583E73D0D36}" destId="{5F91C283-CBEC-401B-9811-6B9815385BF4}" srcOrd="0" destOrd="1" presId="urn:microsoft.com/office/officeart/2005/8/layout/hList6"/>
    <dgm:cxn modelId="{EA3AC05E-B006-43C8-B3D1-A64A232EBD56}" type="presOf" srcId="{08CB5A2F-393F-464E-A882-D9ED7D44C396}" destId="{B790B033-8861-44F9-A411-A64891A1F78D}" srcOrd="0" destOrd="3" presId="urn:microsoft.com/office/officeart/2005/8/layout/hList6"/>
    <dgm:cxn modelId="{1290E4ED-2B96-42F8-9A90-827EAE1DAF63}" type="presOf" srcId="{340ABA22-01E9-4FF1-993F-9F90A8EDD93C}" destId="{5F91C283-CBEC-401B-9811-6B9815385BF4}" srcOrd="0" destOrd="3" presId="urn:microsoft.com/office/officeart/2005/8/layout/hList6"/>
    <dgm:cxn modelId="{86F0AF75-F67A-43B1-9E7E-7227881C79ED}" type="presOf" srcId="{C9B12C90-8B57-400E-AFDB-85B1CC8B63C9}" destId="{5F91C283-CBEC-401B-9811-6B9815385BF4}" srcOrd="0" destOrd="0" presId="urn:microsoft.com/office/officeart/2005/8/layout/hList6"/>
    <dgm:cxn modelId="{8C71C3D9-E489-469F-9D5E-705C3DE72BED}" type="presOf" srcId="{79BB08CC-B1E6-4B7E-AAC7-C38E3794C471}" destId="{07112225-DBE3-4767-B863-B33AE5135511}" srcOrd="0" destOrd="4" presId="urn:microsoft.com/office/officeart/2005/8/layout/hList6"/>
    <dgm:cxn modelId="{517131BE-7923-42ED-8D1F-5B6FF1495D78}" type="presOf" srcId="{173A95D6-627F-4EE4-B440-3E9FBF53A473}" destId="{B790B033-8861-44F9-A411-A64891A1F78D}" srcOrd="0" destOrd="0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08B4463C-2C6C-4556-AE04-AEA4501BF73B}" type="presOf" srcId="{D06940CB-7C21-4684-9A28-0F376CFC6BB8}" destId="{B790B033-8861-44F9-A411-A64891A1F78D}" srcOrd="0" destOrd="1" presId="urn:microsoft.com/office/officeart/2005/8/layout/hList6"/>
    <dgm:cxn modelId="{CB320068-49C0-44E1-9D7C-362C47710DB5}" type="presOf" srcId="{5D5A5A7A-2479-432D-B9E6-B45F78D27CE5}" destId="{E2944459-30FB-4A39-B98C-CA50DEBD0FE0}" srcOrd="0" destOrd="1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F528C872-65C0-43A0-8947-EA9B4655304F}" type="presOf" srcId="{CE19F13A-CB44-4A8D-A9DE-3451DBC6BCD6}" destId="{5F91C283-CBEC-401B-9811-6B9815385BF4}" srcOrd="0" destOrd="5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57995A2C-F45F-4932-A7CD-9CC3B201736E}" type="presOf" srcId="{22B59ABE-7B41-47B6-A407-81A19262CE66}" destId="{E2944459-30FB-4A39-B98C-CA50DEBD0FE0}" srcOrd="0" destOrd="2" presId="urn:microsoft.com/office/officeart/2005/8/layout/hList6"/>
    <dgm:cxn modelId="{DF7E9F3F-8CFD-4BCB-86AA-728C3ED8F9B7}" type="presOf" srcId="{A6A559D5-1DBD-4A1B-9C84-11DD56731C42}" destId="{07112225-DBE3-4767-B863-B33AE5135511}" srcOrd="0" destOrd="0" presId="urn:microsoft.com/office/officeart/2005/8/layout/hList6"/>
    <dgm:cxn modelId="{699C0016-5F25-45B5-B274-5690C33CD950}" type="presOf" srcId="{7EDB0E82-0C3F-4570-AE44-2ADE5BD8875A}" destId="{B790B033-8861-44F9-A411-A64891A1F78D}" srcOrd="0" destOrd="2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720243CF-4D06-40EA-9ED2-BD2B2D82A3B2}" type="presOf" srcId="{4BC937DE-DF2D-4FFA-B88A-E5338D433781}" destId="{E2944459-30FB-4A39-B98C-CA50DEBD0FE0}" srcOrd="0" destOrd="0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190FD0C5-8A59-4966-BF46-056537460E2C}" type="presOf" srcId="{6F30B221-5C40-4FBA-9427-2F0B5413EADD}" destId="{5F91C283-CBEC-401B-9811-6B9815385BF4}" srcOrd="0" destOrd="4" presId="urn:microsoft.com/office/officeart/2005/8/layout/hList6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47B7B5F8-B6E5-4FB1-AFC8-A6B78FA7D521}" type="presOf" srcId="{924F9493-B6F4-4681-98A9-DF6C585A595D}" destId="{07112225-DBE3-4767-B863-B33AE5135511}" srcOrd="0" destOrd="2" presId="urn:microsoft.com/office/officeart/2005/8/layout/hList6"/>
    <dgm:cxn modelId="{76D472AE-02BD-485E-BABC-0761DF47E1D4}" type="presOf" srcId="{E66BEFBB-91E6-4BA8-BDAD-7EE83CE7BD62}" destId="{E2944459-30FB-4A39-B98C-CA50DEBD0FE0}" srcOrd="0" destOrd="3" presId="urn:microsoft.com/office/officeart/2005/8/layout/hList6"/>
    <dgm:cxn modelId="{979436B5-FF5C-4A56-A191-7D38FFA3C925}" type="presOf" srcId="{A446800D-2712-4870-A860-B80692232F7F}" destId="{5F91C283-CBEC-401B-9811-6B9815385BF4}" srcOrd="0" destOrd="2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9CEB0DC1-AAD6-43E2-A004-CA824731E90B}" type="presOf" srcId="{DF67D3F8-523E-4C91-BB8A-E88FF3BFFE71}" destId="{E2944459-30FB-4A39-B98C-CA50DEBD0FE0}" srcOrd="0" destOrd="4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D24A41B7-A2FD-48C2-906B-CC4D0DCF4C58}" type="presParOf" srcId="{3E78A654-C050-4A6D-AE20-E7E88B2A53F2}" destId="{E2944459-30FB-4A39-B98C-CA50DEBD0FE0}" srcOrd="0" destOrd="0" presId="urn:microsoft.com/office/officeart/2005/8/layout/hList6"/>
    <dgm:cxn modelId="{30D4D752-347B-41D3-9752-94EE32502BBF}" type="presParOf" srcId="{3E78A654-C050-4A6D-AE20-E7E88B2A53F2}" destId="{50494F57-9413-46C6-806C-1F0BC7375A67}" srcOrd="1" destOrd="0" presId="urn:microsoft.com/office/officeart/2005/8/layout/hList6"/>
    <dgm:cxn modelId="{B61E06C6-383C-4FEB-90A2-EC2FEEEB7713}" type="presParOf" srcId="{3E78A654-C050-4A6D-AE20-E7E88B2A53F2}" destId="{07112225-DBE3-4767-B863-B33AE5135511}" srcOrd="2" destOrd="0" presId="urn:microsoft.com/office/officeart/2005/8/layout/hList6"/>
    <dgm:cxn modelId="{235BB6CB-97D0-4255-904B-A09A6DD493B8}" type="presParOf" srcId="{3E78A654-C050-4A6D-AE20-E7E88B2A53F2}" destId="{6BA26F60-B496-4610-8B97-2B9BA126275A}" srcOrd="3" destOrd="0" presId="urn:microsoft.com/office/officeart/2005/8/layout/hList6"/>
    <dgm:cxn modelId="{F18E1AB6-76E6-4F80-A137-C508D9D9E6DA}" type="presParOf" srcId="{3E78A654-C050-4A6D-AE20-E7E88B2A53F2}" destId="{B790B033-8861-44F9-A411-A64891A1F78D}" srcOrd="4" destOrd="0" presId="urn:microsoft.com/office/officeart/2005/8/layout/hList6"/>
    <dgm:cxn modelId="{21B92FC8-449D-4507-A75B-D5F0218404BF}" type="presParOf" srcId="{3E78A654-C050-4A6D-AE20-E7E88B2A53F2}" destId="{101442F7-FACE-4788-8554-F4C5B5488297}" srcOrd="5" destOrd="0" presId="urn:microsoft.com/office/officeart/2005/8/layout/hList6"/>
    <dgm:cxn modelId="{BA8D67A1-8362-41FF-8ACC-2D8B16BE07DA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.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– N.A.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ROW</a:t>
            </a:r>
            <a:endParaRPr lang="de-DE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151173" y="1980616"/>
            <a:ext cx="10016775" cy="4146866"/>
            <a:chOff x="2201864" y="1196976"/>
            <a:chExt cx="10775760" cy="4461079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34013" y="2047083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3839370" y="2447362"/>
              <a:ext cx="4260850" cy="430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401451" y="4896532"/>
              <a:ext cx="4301350" cy="7615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South African region- telecom backup &amp; portable FC </a:t>
              </a: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4086443" y="3244334"/>
              <a:ext cx="2794530" cy="4304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dirty="0" smtClean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Brazil </a:t>
              </a:r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– FC Public Buses</a:t>
              </a: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7234535" y="3749213"/>
              <a:ext cx="5743089" cy="7284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Australia –  minor market </a:t>
              </a:r>
              <a:r>
                <a:rPr lang="en-US" sz="2000" dirty="0" smtClean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with various FC imports</a:t>
              </a:r>
              <a:endParaRPr lang="en-US" sz="200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PERSPECTIVES- CONCLUSION</a:t>
            </a:r>
            <a:endParaRPr lang="en-US" dirty="0"/>
          </a:p>
        </p:txBody>
      </p:sp>
      <p:pic>
        <p:nvPicPr>
          <p:cNvPr id="4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816100" y="2439988"/>
          <a:ext cx="8839201" cy="313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2743"/>
                <a:gridCol w="1262743"/>
                <a:gridCol w="1262743"/>
                <a:gridCol w="1262743"/>
                <a:gridCol w="1262743"/>
                <a:gridCol w="1262743"/>
                <a:gridCol w="1262743"/>
              </a:tblGrid>
              <a:tr h="370840">
                <a:tc gridSpan="7"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Megawatts by Region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Megawatt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0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Europe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.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North America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7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2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9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1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4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2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Asia 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5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2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9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6.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22.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12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est of World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.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otal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6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1.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9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66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15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6.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065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AW AND GOVERNMENTAL INFLUENC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853340"/>
              </p:ext>
            </p:extLst>
          </p:nvPr>
        </p:nvGraphicFramePr>
        <p:xfrm>
          <a:off x="1096964" y="1846263"/>
          <a:ext cx="10058715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governmental</a:t>
                      </a:r>
                      <a:r>
                        <a:rPr lang="fr-FR" sz="1500" baseline="0" dirty="0" smtClean="0"/>
                        <a:t> influenc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In </a:t>
                      </a:r>
                      <a:r>
                        <a:rPr lang="fr-FR" sz="1500" dirty="0" err="1" smtClean="0"/>
                        <a:t>which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degree</a:t>
                      </a:r>
                      <a:r>
                        <a:rPr lang="fr-FR" sz="1500" baseline="0" dirty="0" smtClean="0"/>
                        <a:t> the influence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between</a:t>
                      </a:r>
                      <a:r>
                        <a:rPr lang="fr-FR" sz="1500" baseline="0" dirty="0" smtClean="0"/>
                        <a:t> the countr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9"/>
            <a:ext cx="4897120" cy="1897458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5130106"/>
              </p:ext>
            </p:extLst>
          </p:nvPr>
        </p:nvGraphicFramePr>
        <p:xfrm>
          <a:off x="1096964" y="1846263"/>
          <a:ext cx="10058715" cy="38671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788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Concep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trend for </a:t>
                      </a:r>
                      <a:r>
                        <a:rPr lang="fr-FR" sz="1500" baseline="0" dirty="0" err="1" smtClean="0"/>
                        <a:t>each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 in the last </a:t>
                      </a:r>
                      <a:r>
                        <a:rPr lang="fr-FR" sz="1500" baseline="0" dirty="0" err="1" smtClean="0"/>
                        <a:t>year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Sales</a:t>
                      </a:r>
                      <a:r>
                        <a:rPr lang="fr-FR" sz="1500" baseline="0" dirty="0" smtClean="0"/>
                        <a:t>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red</a:t>
                      </a:r>
                      <a:r>
                        <a:rPr lang="fr-FR" sz="1500" baseline="0" dirty="0" smtClean="0"/>
                        <a:t> t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, </a:t>
                      </a:r>
                      <a:r>
                        <a:rPr lang="fr-FR" sz="1500" baseline="0" dirty="0" err="1" smtClean="0"/>
                        <a:t>what</a:t>
                      </a:r>
                      <a:r>
                        <a:rPr lang="fr-FR" sz="1500" baseline="0" dirty="0" smtClean="0"/>
                        <a:t> are </a:t>
                      </a:r>
                      <a:r>
                        <a:rPr lang="fr-FR" sz="1500" baseline="0" dirty="0" err="1" smtClean="0"/>
                        <a:t>advantages</a:t>
                      </a:r>
                      <a:r>
                        <a:rPr lang="fr-FR" sz="1500" baseline="0" dirty="0" smtClean="0"/>
                        <a:t>/</a:t>
                      </a:r>
                      <a:r>
                        <a:rPr lang="fr-FR" sz="1500" baseline="0" dirty="0" err="1" smtClean="0"/>
                        <a:t>disadvantages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Produc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7555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1097280" y="1882587"/>
            <a:ext cx="10058400" cy="4464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batteries 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Super capacitors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fuel cells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thermo electrics,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 smtClean="0"/>
              <a:t>superconductors</a:t>
            </a:r>
            <a:endParaRPr lang="en-US" dirty="0"/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lighting 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hydrogen technologies.</a:t>
            </a:r>
          </a:p>
          <a:p>
            <a:r>
              <a:rPr lang="en-US" sz="2400" dirty="0" smtClean="0"/>
              <a:t>They compete with each other mostly on: usage , cost, safety aspects, standards and regulations. </a:t>
            </a:r>
          </a:p>
          <a:p>
            <a:r>
              <a:rPr lang="en-US" sz="2400" dirty="0" smtClean="0"/>
              <a:t>Also policies of different nations and regions are important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8600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1097281" y="1894690"/>
            <a:ext cx="4856826" cy="280076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Advantages of  hydrogen energy  in fuel cell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adily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vailabl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 Harmful Emiss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vironment Friend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sed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 Fuel in Rocke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el Effici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newab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27376" y="1894689"/>
            <a:ext cx="4928303" cy="280076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normAutofit/>
          </a:bodyPr>
          <a:lstStyle/>
          <a:p>
            <a:r>
              <a:rPr lang="en-US" sz="2800" dirty="0"/>
              <a:t>Disadvantages of hydrogen energy in fuel cell 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ensiv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or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t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sy to Replace Existing Infrastructur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ly Flammabl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pendency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 Fossil Fuels</a:t>
            </a:r>
          </a:p>
        </p:txBody>
      </p:sp>
      <p:sp>
        <p:nvSpPr>
          <p:cNvPr id="8" name="Rectangle 7"/>
          <p:cNvSpPr/>
          <p:nvPr/>
        </p:nvSpPr>
        <p:spPr>
          <a:xfrm>
            <a:off x="3450940" y="4798749"/>
            <a:ext cx="5351079" cy="144655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en-US" sz="2800" dirty="0" smtClean="0">
                <a:solidFill>
                  <a:prstClr val="black"/>
                </a:solidFill>
              </a:rPr>
              <a:t>Challenges </a:t>
            </a:r>
            <a:r>
              <a:rPr lang="en-US" sz="2800" dirty="0">
                <a:solidFill>
                  <a:prstClr val="black"/>
                </a:solidFill>
              </a:rPr>
              <a:t>of hydrogen fuel cell: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el cell cost and durability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drogen storage  and the range of that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drogen cost and delivery</a:t>
            </a:r>
          </a:p>
        </p:txBody>
      </p:sp>
    </p:spTree>
    <p:extLst>
      <p:ext uri="{BB962C8B-B14F-4D97-AF65-F5344CB8AC3E}">
        <p14:creationId xmlns:p14="http://schemas.microsoft.com/office/powerpoint/2010/main" val="350502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626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ERSPECTIV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7168815"/>
              </p:ext>
            </p:extLst>
          </p:nvPr>
        </p:nvGraphicFramePr>
        <p:xfrm>
          <a:off x="1096964" y="1846263"/>
          <a:ext cx="10058715" cy="285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5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is</a:t>
                      </a:r>
                      <a:r>
                        <a:rPr lang="fr-FR" sz="1500" baseline="0" dirty="0" smtClean="0"/>
                        <a:t> the sales </a:t>
                      </a:r>
                      <a:r>
                        <a:rPr lang="fr-FR" sz="1500" baseline="0" dirty="0" err="1" smtClean="0"/>
                        <a:t>forecast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Forecasted</a:t>
                      </a:r>
                      <a:r>
                        <a:rPr lang="fr-FR" sz="1500" baseline="0" dirty="0" smtClean="0"/>
                        <a:t> sales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</a:t>
                      </a:r>
                      <a:r>
                        <a:rPr lang="fr-FR" sz="1500" baseline="0" dirty="0" err="1" smtClean="0"/>
                        <a:t>nex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waited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milestone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pinion</a:t>
                      </a:r>
                      <a:r>
                        <a:rPr lang="fr-FR" sz="1500" baseline="0" dirty="0" smtClean="0"/>
                        <a:t> of experts; dat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3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DUC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4896413"/>
              </p:ext>
            </p:extLst>
          </p:nvPr>
        </p:nvGraphicFramePr>
        <p:xfrm>
          <a:off x="1097279" y="1846263"/>
          <a:ext cx="10058400" cy="333963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aseline="0" dirty="0" smtClean="0"/>
                        <a:t>Concepts; </a:t>
                      </a:r>
                      <a:r>
                        <a:rPr lang="fr-FR" sz="1500" baseline="0" dirty="0" err="1" smtClean="0"/>
                        <a:t>Principl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Student’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lab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Inter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types of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4.2015</a:t>
                      </a:r>
                      <a:endParaRPr lang="fr-FR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</a:t>
                      </a:r>
                      <a:r>
                        <a:rPr lang="fr-FR" sz="1500" dirty="0" err="1" smtClean="0"/>
                        <a:t>their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Technical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ndicator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5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1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42947826"/>
              </p:ext>
            </p:extLst>
          </p:nvPr>
        </p:nvGraphicFramePr>
        <p:xfrm>
          <a:off x="1096963" y="1846263"/>
          <a:ext cx="10058400" cy="404952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ined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eat and power unit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457965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nterruptible Power System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m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37269518"/>
              </p:ext>
            </p:extLst>
          </p:nvPr>
        </p:nvGraphicFramePr>
        <p:xfrm>
          <a:off x="1097279" y="1846263"/>
          <a:ext cx="10058400" cy="2763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at was the state of the industry</a:t>
                      </a:r>
                      <a:r>
                        <a:rPr lang="en-US" sz="1500" baseline="0" noProof="0" dirty="0" smtClean="0"/>
                        <a:t> in 2014? (before 2015)</a:t>
                      </a:r>
                      <a:endParaRPr lang="en-US" sz="1500" noProof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</a:t>
                      </a:r>
                      <a:r>
                        <a:rPr lang="fr-FR" sz="1500" baseline="0" dirty="0" err="1" smtClean="0"/>
                        <a:t>Incentiv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nalysis</a:t>
                      </a:r>
                      <a:r>
                        <a:rPr lang="fr-FR" sz="1500" baseline="0" dirty="0" smtClean="0"/>
                        <a:t> reports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3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ich factor(s) caused </a:t>
                      </a:r>
                      <a:r>
                        <a:rPr lang="en-US" sz="1500" baseline="0" noProof="0" dirty="0" smtClean="0"/>
                        <a:t>Japan to became the world’s leading market in FC?</a:t>
                      </a:r>
                      <a:endParaRPr lang="en-US" sz="1500" noProof="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Country Energy</a:t>
                      </a:r>
                      <a:r>
                        <a:rPr lang="en-US" sz="1500" baseline="0" noProof="0" dirty="0" smtClean="0"/>
                        <a:t> Plan ;</a:t>
                      </a:r>
                      <a:r>
                        <a:rPr lang="en-US" sz="1500" noProof="0" dirty="0" smtClean="0"/>
                        <a:t>Related</a:t>
                      </a:r>
                      <a:r>
                        <a:rPr lang="en-US" sz="1500" baseline="0" noProof="0" dirty="0" smtClean="0"/>
                        <a:t> </a:t>
                      </a:r>
                      <a:r>
                        <a:rPr lang="en-US" sz="1500" noProof="0" dirty="0" smtClean="0"/>
                        <a:t>Governmental Policies;   Corporate </a:t>
                      </a:r>
                      <a:r>
                        <a:rPr lang="en-US" sz="1500" noProof="0" dirty="0" err="1" smtClean="0"/>
                        <a:t>Fundings</a:t>
                      </a:r>
                      <a:endParaRPr lang="en-US" sz="1500" noProof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nline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3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50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0</TotalTime>
  <Words>1035</Words>
  <Application>Microsoft Office PowerPoint</Application>
  <PresentationFormat>Widescreen</PresentationFormat>
  <Paragraphs>311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宋体</vt:lpstr>
      <vt:lpstr>Calibri</vt:lpstr>
      <vt:lpstr>Calibri Light</vt:lpstr>
      <vt:lpstr>Wingdings</vt:lpstr>
      <vt:lpstr>Rétrospective</vt:lpstr>
      <vt:lpstr>FUEL CELLS </vt:lpstr>
      <vt:lpstr>LOGIC MODEL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MARKET PERSPECTIVES</vt:lpstr>
      <vt:lpstr>MARKET PERSPECTIVES - ASIA</vt:lpstr>
      <vt:lpstr>MARKET PERSPECTIVES - EUROPE</vt:lpstr>
      <vt:lpstr>MARKET PERSPECTIVES – N.A.</vt:lpstr>
      <vt:lpstr>MARKET PERSPECTIVES - ROW</vt:lpstr>
      <vt:lpstr>MARKET PERSPECTIVES- CONCLUSION</vt:lpstr>
      <vt:lpstr>LAW AND GOVERNMENTAL INFLUENCE</vt:lpstr>
      <vt:lpstr>LAW AND GOVERNMENTAL INFLUENCE</vt:lpstr>
      <vt:lpstr>COMPARISON WITH OTHER TECHNOLOGIES</vt:lpstr>
      <vt:lpstr>COMPARISON WITH OTHER TECHNOLOGIES</vt:lpstr>
      <vt:lpstr>COMPARISON WITH OTHER TECHNOLOGIES</vt:lpstr>
      <vt:lpstr>FUTURE PERSPECTIVE</vt:lpstr>
    </vt:vector>
  </TitlesOfParts>
  <Company>Supele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Konstantin Neumann</cp:lastModifiedBy>
  <cp:revision>54</cp:revision>
  <dcterms:created xsi:type="dcterms:W3CDTF">2015-04-09T11:09:48Z</dcterms:created>
  <dcterms:modified xsi:type="dcterms:W3CDTF">2015-04-15T02:15:51Z</dcterms:modified>
</cp:coreProperties>
</file>